
<file path=[Content_Types].xml><?xml version="1.0" encoding="utf-8"?>
<Types xmlns="http://schemas.openxmlformats.org/package/2006/content-types"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www.infraware.co.kr/2012/infrawarePen" Target="docProps/infrawarePe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1"/>
  </p:notesMasterIdLst>
  <p:handoutMasterIdLst>
    <p:handoutMasterId r:id="rId12"/>
  </p:handoutMasterIdLst>
  <p:sldIdLst>
    <p:sldId id="278" r:id="rId2"/>
    <p:sldId id="285" r:id="rId3"/>
    <p:sldId id="340" r:id="rId4"/>
    <p:sldId id="337" r:id="rId5"/>
    <p:sldId id="336" r:id="rId6"/>
    <p:sldId id="338" r:id="rId7"/>
    <p:sldId id="339" r:id="rId8"/>
    <p:sldId id="341" r:id="rId9"/>
    <p:sldId id="327" r:id="rId10"/>
  </p:sldIdLst>
  <p:sldSz cx="9144000" cy="6858000" type="screen4x3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936" userDrawn="1">
          <p15:clr>
            <a:srgbClr val="A4A3A4"/>
          </p15:clr>
        </p15:guide>
        <p15:guide id="2" pos="2265" userDrawn="1">
          <p15:clr>
            <a:srgbClr val="A4A3A4"/>
          </p15:clr>
        </p15:guide>
        <p15:guide id="3" orient="horz" pos="2932" userDrawn="1">
          <p15:clr>
            <a:srgbClr val="A4A3A4"/>
          </p15:clr>
        </p15:guide>
        <p15:guide id="4" pos="221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69E"/>
    <a:srgbClr val="FF5050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447" autoAdjust="0"/>
    <p:restoredTop sz="93155" autoAdjust="0"/>
  </p:normalViewPr>
  <p:slideViewPr>
    <p:cSldViewPr>
      <p:cViewPr varScale="1">
        <p:scale>
          <a:sx n="120" d="100"/>
          <a:sy n="120" d="100"/>
        </p:scale>
        <p:origin x="-1500" y="-1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2813"/>
    </p:cViewPr>
  </p:sorterViewPr>
  <p:notesViewPr>
    <p:cSldViewPr>
      <p:cViewPr varScale="1">
        <p:scale>
          <a:sx n="65" d="100"/>
          <a:sy n="65" d="100"/>
        </p:scale>
        <p:origin x="-3288" y="-114"/>
      </p:cViewPr>
      <p:guideLst>
        <p:guide orient="horz" pos="2936"/>
        <p:guide orient="horz" pos="2932"/>
        <p:guide pos="2265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238" cy="465138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r">
              <a:defRPr sz="1200"/>
            </a:lvl1pPr>
          </a:lstStyle>
          <a:p>
            <a:fld id="{A8782089-6BC6-4235-B712-F8742B9D4234}" type="datetimeFigureOut">
              <a:rPr lang="en-US" smtClean="0"/>
              <a:pPr/>
              <a:t>9/24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42376"/>
            <a:ext cx="3043238" cy="465138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6"/>
            <a:ext cx="3043238" cy="465138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r">
              <a:defRPr sz="1200"/>
            </a:lvl1pPr>
          </a:lstStyle>
          <a:p>
            <a:fld id="{75612B8F-7C36-4EC9-BD17-68C48F5CD98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77189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343" cy="465455"/>
          </a:xfrm>
          <a:prstGeom prst="rect">
            <a:avLst/>
          </a:prstGeom>
        </p:spPr>
        <p:txBody>
          <a:bodyPr vert="horz" lIns="95071" tIns="47534" rIns="95071" bIns="4753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7" y="0"/>
            <a:ext cx="3043343" cy="465455"/>
          </a:xfrm>
          <a:prstGeom prst="rect">
            <a:avLst/>
          </a:prstGeom>
        </p:spPr>
        <p:txBody>
          <a:bodyPr vert="horz" lIns="95071" tIns="47534" rIns="95071" bIns="47534" rtlCol="0"/>
          <a:lstStyle>
            <a:lvl1pPr algn="r">
              <a:defRPr sz="1200"/>
            </a:lvl1pPr>
          </a:lstStyle>
          <a:p>
            <a:fld id="{CEB96F95-300C-4A3F-BDC6-417068EB1BB3}" type="datetimeFigureOut">
              <a:rPr lang="en-US" smtClean="0"/>
              <a:pPr/>
              <a:t>9/24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071" tIns="47534" rIns="95071" bIns="4753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8"/>
            <a:ext cx="5618480" cy="4189095"/>
          </a:xfrm>
          <a:prstGeom prst="rect">
            <a:avLst/>
          </a:prstGeom>
        </p:spPr>
        <p:txBody>
          <a:bodyPr vert="horz" lIns="95071" tIns="47534" rIns="95071" bIns="47534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42034"/>
            <a:ext cx="3043343" cy="465455"/>
          </a:xfrm>
          <a:prstGeom prst="rect">
            <a:avLst/>
          </a:prstGeom>
        </p:spPr>
        <p:txBody>
          <a:bodyPr vert="horz" lIns="95071" tIns="47534" rIns="95071" bIns="4753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7" y="8842034"/>
            <a:ext cx="3043343" cy="465455"/>
          </a:xfrm>
          <a:prstGeom prst="rect">
            <a:avLst/>
          </a:prstGeom>
        </p:spPr>
        <p:txBody>
          <a:bodyPr vert="horz" lIns="95071" tIns="47534" rIns="95071" bIns="47534" rtlCol="0" anchor="b"/>
          <a:lstStyle>
            <a:lvl1pPr algn="r">
              <a:defRPr sz="1200"/>
            </a:lvl1pPr>
          </a:lstStyle>
          <a:p>
            <a:fld id="{DDE3C4EC-FA30-4BAF-8816-853426F570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26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50635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6021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49612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Insert title her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 smtClean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subtitle here</a:t>
            </a:r>
          </a:p>
        </p:txBody>
      </p:sp>
    </p:spTree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9/24/2018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9/24/2018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9/24/2018</a:t>
            </a:fld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9/24/2018</a:t>
            </a:fld>
            <a:endParaRPr lang="en-US" dirty="0"/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2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3118715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chapter nam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61872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 smtClean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 smtClean="0"/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/>
              <a:pPr/>
              <a:t>9/24/2018</a:t>
            </a:fld>
            <a:endParaRPr lang="en-US" dirty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64" r:id="rId2"/>
    <p:sldLayoutId id="2147483662" r:id="rId3"/>
    <p:sldLayoutId id="2147483663" r:id="rId4"/>
    <p:sldLayoutId id="2147483673" r:id="rId5"/>
    <p:sldLayoutId id="2147483677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.tif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3886200"/>
            <a:ext cx="7391400" cy="466344"/>
          </a:xfrm>
        </p:spPr>
        <p:txBody>
          <a:bodyPr/>
          <a:lstStyle/>
          <a:p>
            <a:r>
              <a:rPr lang="en-US" sz="2400" dirty="0" smtClean="0"/>
              <a:t>General Manager’s Remarks</a:t>
            </a:r>
            <a:endParaRPr lang="en-US" sz="2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219200" y="5257800"/>
            <a:ext cx="3352800" cy="762000"/>
          </a:xfrm>
        </p:spPr>
        <p:txBody>
          <a:bodyPr/>
          <a:lstStyle/>
          <a:p>
            <a:r>
              <a:rPr lang="en-US" sz="2000" dirty="0" smtClean="0"/>
              <a:t>September 24, 2018</a:t>
            </a:r>
            <a:endParaRPr lang="en-US" sz="20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219200" y="4528458"/>
            <a:ext cx="7315200" cy="457200"/>
          </a:xfrm>
        </p:spPr>
        <p:txBody>
          <a:bodyPr/>
          <a:lstStyle/>
          <a:p>
            <a:r>
              <a:rPr lang="en-US" sz="2000" dirty="0" smtClean="0"/>
              <a:t>Fiscal and Management Control Board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979922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Agenda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2684" y="1752600"/>
            <a:ext cx="8348472" cy="443849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</a:rPr>
              <a:t>PTC overvie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Rail Safety Wee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</a:rPr>
              <a:t>Bus arrival, prediction impr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</a:rPr>
              <a:t>Tufts Medical Center real-time inform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</a:rPr>
              <a:t>UMass Lowell – Commuter Rail partnership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2630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Positive Train Control overview</a:t>
            </a:r>
            <a:endParaRPr lang="en-US" sz="2400" i="1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52699" y="1481137"/>
            <a:ext cx="4256461" cy="41148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PTC is T’s highest priority capital progr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MBTA now off FRA list of systems “at risk” of failing to meet deadl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Met necessary requirements to apply for extension for full PTC deployment by end of 202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Efforts will continue to focus on deployment pla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Upon implementation PTC will provide major, modern safety enhancements</a:t>
            </a:r>
            <a:endParaRPr lang="en-US" sz="2000" dirty="0">
              <a:solidFill>
                <a:schemeClr val="tx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53000" y="2403870"/>
            <a:ext cx="3352800" cy="226933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70846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1"/>
          <p:cNvSpPr>
            <a:spLocks noGrp="1"/>
          </p:cNvSpPr>
          <p:nvPr>
            <p:ph type="title"/>
          </p:nvPr>
        </p:nvSpPr>
        <p:spPr bwMode="auto">
          <a:xfrm>
            <a:off x="461963" y="828675"/>
            <a:ext cx="7751762" cy="4667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sz="1800" dirty="0">
                <a:latin typeface="Arial" charset="0"/>
                <a:cs typeface="Arial" charset="0"/>
              </a:rPr>
              <a:t>Operation Lifesaver (OLI) – Rail Safety Week – September 23</a:t>
            </a:r>
            <a:r>
              <a:rPr lang="en-US" altLang="en-US" sz="1800" baseline="30000" dirty="0">
                <a:latin typeface="Arial" charset="0"/>
                <a:cs typeface="Arial" charset="0"/>
              </a:rPr>
              <a:t>rd</a:t>
            </a:r>
            <a:r>
              <a:rPr lang="en-US" altLang="en-US" sz="1800" dirty="0">
                <a:latin typeface="Arial" charset="0"/>
                <a:cs typeface="Arial" charset="0"/>
              </a:rPr>
              <a:t> - 29</a:t>
            </a:r>
            <a:r>
              <a:rPr lang="en-US" altLang="en-US" sz="1800" baseline="30000" dirty="0">
                <a:latin typeface="Arial" charset="0"/>
                <a:cs typeface="Arial" charset="0"/>
              </a:rPr>
              <a:t>th</a:t>
            </a:r>
            <a:endParaRPr lang="en-US" altLang="en-US" sz="1800" dirty="0" smtClean="0">
              <a:latin typeface="Arial" charset="0"/>
              <a:cs typeface="Arial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461963" y="381000"/>
            <a:ext cx="7310437" cy="22860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 </a:t>
            </a:r>
            <a:endParaRPr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6203112"/>
            <a:ext cx="1524000" cy="50472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026" name="Picture 2" descr="https://s3.us-east-2.amazonaws.com/downloads.oli.org/Rail+Safety+Week/2018+RSW+Materials/OLI_RailSafetyWeekLogoDates2018_small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2432" y="201646"/>
            <a:ext cx="1033913" cy="795684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8960" y="5562600"/>
            <a:ext cx="1407385" cy="1301831"/>
          </a:xfrm>
          <a:prstGeom prst="rect">
            <a:avLst/>
          </a:prstGeom>
        </p:spPr>
      </p:pic>
      <p:sp>
        <p:nvSpPr>
          <p:cNvPr id="9" name="TextBox 3"/>
          <p:cNvSpPr txBox="1">
            <a:spLocks noChangeArrowheads="1"/>
          </p:cNvSpPr>
          <p:nvPr/>
        </p:nvSpPr>
        <p:spPr bwMode="auto">
          <a:xfrm>
            <a:off x="461963" y="1447800"/>
            <a:ext cx="8072437" cy="23391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500" u="sng" dirty="0" smtClean="0">
                <a:latin typeface="Arial" panose="020B0604020202020204" pitchFamily="34" charset="0"/>
                <a:cs typeface="Arial" panose="020B0604020202020204" pitchFamily="34" charset="0"/>
              </a:rPr>
              <a:t>External Outreach for Commuters &amp; Passenger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Rail Safety messaging on 160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assDOT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Digital Billboards and RMV Display Ads statewi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OLI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essaging on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MBTA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in-station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digital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displays and on the Commuter Rail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Ticket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Ap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Signs, posters, and audio announcements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onboard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subway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nd commuter rail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trains</a:t>
            </a:r>
          </a:p>
          <a:p>
            <a:endParaRPr lang="en-US" sz="1400" b="1" u="sng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500" u="sng" dirty="0" smtClean="0">
                <a:latin typeface="Arial" panose="020B0604020202020204" pitchFamily="34" charset="0"/>
                <a:cs typeface="Arial" panose="020B0604020202020204" pitchFamily="34" charset="0"/>
              </a:rPr>
              <a:t>Internal </a:t>
            </a:r>
            <a:r>
              <a:rPr lang="en-US" sz="1500" u="sng" dirty="0">
                <a:latin typeface="Arial" panose="020B0604020202020204" pitchFamily="34" charset="0"/>
                <a:cs typeface="Arial" panose="020B0604020202020204" pitchFamily="34" charset="0"/>
              </a:rPr>
              <a:t>Outreach for MBTA Employee’s:</a:t>
            </a:r>
            <a:endParaRPr lang="en-US" sz="15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Rail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Safety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Week posters at all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Rail,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Bus, and E&amp;M facilities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Managers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will conduct rail safety briefings with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heir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employees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Personnel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will receive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safety reminder cards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hat they may keep on their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person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eaLnBrk="1" hangingPunct="1">
              <a:spcAft>
                <a:spcPts val="600"/>
              </a:spcAft>
            </a:pPr>
            <a:endParaRPr lang="en-US" altLang="en-US" dirty="0">
              <a:latin typeface="Calibr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35064" y="3592279"/>
            <a:ext cx="3807368" cy="207980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8200" y="3611675"/>
            <a:ext cx="3143079" cy="2060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3085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1"/>
          <p:cNvSpPr>
            <a:spLocks noGrp="1"/>
          </p:cNvSpPr>
          <p:nvPr>
            <p:ph type="title"/>
          </p:nvPr>
        </p:nvSpPr>
        <p:spPr bwMode="auto">
          <a:xfrm>
            <a:off x="461963" y="828675"/>
            <a:ext cx="7751762" cy="4667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sz="1800" dirty="0" smtClean="0">
                <a:latin typeface="Arial" charset="0"/>
                <a:cs typeface="Arial" charset="0"/>
              </a:rPr>
              <a:t>Operation Lifesaver (OLI</a:t>
            </a:r>
            <a:r>
              <a:rPr lang="en-US" altLang="en-US" sz="1800" dirty="0">
                <a:latin typeface="Arial" charset="0"/>
                <a:cs typeface="Arial" charset="0"/>
              </a:rPr>
              <a:t>) – </a:t>
            </a:r>
            <a:r>
              <a:rPr lang="en-US" altLang="en-US" sz="1800" dirty="0" smtClean="0">
                <a:latin typeface="Arial" charset="0"/>
                <a:cs typeface="Arial" charset="0"/>
              </a:rPr>
              <a:t>Rail Safety Week – September 23</a:t>
            </a:r>
            <a:r>
              <a:rPr lang="en-US" altLang="en-US" sz="1800" baseline="30000" dirty="0" smtClean="0">
                <a:latin typeface="Arial" charset="0"/>
                <a:cs typeface="Arial" charset="0"/>
              </a:rPr>
              <a:t>rd</a:t>
            </a:r>
            <a:r>
              <a:rPr lang="en-US" altLang="en-US" sz="1800" dirty="0" smtClean="0">
                <a:latin typeface="Arial" charset="0"/>
                <a:cs typeface="Arial" charset="0"/>
              </a:rPr>
              <a:t> - 29</a:t>
            </a:r>
            <a:r>
              <a:rPr lang="en-US" altLang="en-US" sz="1800" baseline="30000" dirty="0" smtClean="0">
                <a:latin typeface="Arial" charset="0"/>
                <a:cs typeface="Arial" charset="0"/>
              </a:rPr>
              <a:t>th</a:t>
            </a:r>
            <a:endParaRPr lang="en-US" altLang="en-US" sz="1800" dirty="0" smtClean="0">
              <a:latin typeface="Arial" charset="0"/>
              <a:cs typeface="Arial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461963" y="381000"/>
            <a:ext cx="7310437" cy="22860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 </a:t>
            </a:r>
            <a:endParaRPr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6203112"/>
            <a:ext cx="1524000" cy="50472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026" name="Picture 2" descr="https://s3.us-east-2.amazonaws.com/downloads.oli.org/Rail+Safety+Week/2018+RSW+Materials/OLI_RailSafetyWeekLogoDates2018_small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2432" y="201646"/>
            <a:ext cx="1033913" cy="795684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00454" y="6019800"/>
            <a:ext cx="1775891" cy="81438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1000" y="1371600"/>
            <a:ext cx="8382000" cy="4714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8615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2684" y="1600200"/>
            <a:ext cx="8376516" cy="4572000"/>
          </a:xfrm>
        </p:spPr>
        <p:txBody>
          <a:bodyPr/>
          <a:lstStyle/>
          <a:p>
            <a:r>
              <a:rPr lang="en-US" sz="2200" dirty="0" smtClean="0">
                <a:effectLst/>
              </a:rPr>
              <a:t> 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6918" y="643332"/>
            <a:ext cx="8748518" cy="5529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293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2684" y="1600200"/>
            <a:ext cx="8376516" cy="4572000"/>
          </a:xfrm>
        </p:spPr>
        <p:txBody>
          <a:bodyPr/>
          <a:lstStyle/>
          <a:p>
            <a:r>
              <a:rPr lang="en-US" sz="2200" dirty="0" smtClean="0">
                <a:effectLst/>
              </a:rPr>
              <a:t> </a:t>
            </a:r>
          </a:p>
        </p:txBody>
      </p:sp>
      <p:sp>
        <p:nvSpPr>
          <p:cNvPr id="5" name="Title 6"/>
          <p:cNvSpPr txBox="1">
            <a:spLocks/>
          </p:cNvSpPr>
          <p:nvPr/>
        </p:nvSpPr>
        <p:spPr>
          <a:xfrm>
            <a:off x="462684" y="780871"/>
            <a:ext cx="8686800" cy="51452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en-US" sz="2000" kern="0" dirty="0" smtClean="0"/>
              <a:t/>
            </a:r>
            <a:br>
              <a:rPr lang="en-US" sz="2000" kern="0" dirty="0" smtClean="0"/>
            </a:br>
            <a:r>
              <a:rPr lang="en-US" sz="2000" kern="0" dirty="0" smtClean="0"/>
              <a:t>RTAPS: Real-Time Arrival Prediction System</a:t>
            </a:r>
            <a:endParaRPr lang="en-US" sz="2000" kern="0" dirty="0">
              <a:sym typeface="Montserra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46985" y="1599435"/>
            <a:ext cx="4487847" cy="398978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us: previous bus predictions required years of fine-tuning; prediction accuracy currently about 75 percent*</a:t>
            </a:r>
            <a:endParaRPr lang="en-US" sz="1900" i="1" u="sng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on: selection process for new vendor included vendor-blind “bake-off,” comparing live predictions and actual live raw dat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ult: winning bidder, Swiftly, will bring accuracy up to approximately </a:t>
            </a:r>
            <a:r>
              <a:rPr lang="en-US" sz="1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4 </a:t>
            </a:r>
            <a:r>
              <a:rPr lang="en-US" sz="1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c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tover to new vendor to be complete within next </a:t>
            </a:r>
            <a:r>
              <a:rPr lang="en-US" sz="1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ve </a:t>
            </a:r>
            <a:r>
              <a:rPr lang="en-US" sz="1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ek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21707" y="6069181"/>
            <a:ext cx="832170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/>
              <a:t>*Based on predictions of 0-30 minutes, with stricter accuracy requirements for lower “closer” predictions. 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B92986BC-FAF9-FE46-9A85-D4C453951B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76794" y="1638527"/>
            <a:ext cx="1981200" cy="1955800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6823405" y="2396742"/>
            <a:ext cx="49564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/>
              <a:t>75</a:t>
            </a:r>
            <a:endParaRPr lang="en-US" sz="2400" dirty="0"/>
          </a:p>
        </p:txBody>
      </p:sp>
      <p:sp>
        <p:nvSpPr>
          <p:cNvPr id="10" name="Rectangle 9"/>
          <p:cNvSpPr/>
          <p:nvPr/>
        </p:nvSpPr>
        <p:spPr>
          <a:xfrm>
            <a:off x="7233427" y="2396741"/>
            <a:ext cx="32622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/>
              <a:t>%</a:t>
            </a:r>
            <a:endParaRPr lang="en-US" sz="2400" dirty="0"/>
          </a:p>
        </p:txBody>
      </p:sp>
      <p:sp>
        <p:nvSpPr>
          <p:cNvPr id="11" name="Rectangle 10"/>
          <p:cNvSpPr/>
          <p:nvPr/>
        </p:nvSpPr>
        <p:spPr>
          <a:xfrm>
            <a:off x="6649034" y="2661492"/>
            <a:ext cx="99540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/>
              <a:t>accurat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1B924173-C45F-0146-B99E-AAF57C8D04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32344" y="4094102"/>
            <a:ext cx="2070100" cy="195580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7234541" y="4781196"/>
            <a:ext cx="40908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/>
              <a:t>%</a:t>
            </a:r>
            <a:endParaRPr lang="en-US" sz="2400" dirty="0"/>
          </a:p>
        </p:txBody>
      </p:sp>
      <p:sp>
        <p:nvSpPr>
          <p:cNvPr id="14" name="Rectangle 13"/>
          <p:cNvSpPr/>
          <p:nvPr/>
        </p:nvSpPr>
        <p:spPr>
          <a:xfrm>
            <a:off x="6823405" y="4798338"/>
            <a:ext cx="62388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 smtClean="0"/>
              <a:t>84</a:t>
            </a:r>
            <a:endParaRPr lang="en-US" sz="2400" dirty="0"/>
          </a:p>
        </p:txBody>
      </p:sp>
      <p:sp>
        <p:nvSpPr>
          <p:cNvPr id="15" name="Rectangle 14"/>
          <p:cNvSpPr/>
          <p:nvPr/>
        </p:nvSpPr>
        <p:spPr>
          <a:xfrm>
            <a:off x="6649034" y="5029170"/>
            <a:ext cx="99540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/>
              <a:t>accurat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FADE3D12-D6BD-1F47-BC57-8B9CDD0D58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01606" y="3460769"/>
            <a:ext cx="1321799" cy="749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8783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2684" y="1600200"/>
            <a:ext cx="8376516" cy="4572000"/>
          </a:xfrm>
        </p:spPr>
        <p:txBody>
          <a:bodyPr/>
          <a:lstStyle/>
          <a:p>
            <a:r>
              <a:rPr lang="en-US" sz="2200" dirty="0" smtClean="0">
                <a:effectLst/>
              </a:rPr>
              <a:t> </a:t>
            </a:r>
          </a:p>
        </p:txBody>
      </p:sp>
      <p:sp>
        <p:nvSpPr>
          <p:cNvPr id="5" name="Title 6"/>
          <p:cNvSpPr txBox="1">
            <a:spLocks/>
          </p:cNvSpPr>
          <p:nvPr/>
        </p:nvSpPr>
        <p:spPr>
          <a:xfrm>
            <a:off x="462684" y="780871"/>
            <a:ext cx="8686800" cy="51452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en-US" sz="2000" kern="0" dirty="0" smtClean="0">
                <a:sym typeface="Montserrat"/>
              </a:rPr>
              <a:t>Real-Time Information: Tufts Medical Center </a:t>
            </a:r>
            <a:endParaRPr lang="en-US" sz="2000" kern="0" dirty="0">
              <a:sym typeface="Montserra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46985" y="1599435"/>
            <a:ext cx="4487847" cy="398978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the first-time ever, rapid transit and bus information together at street level</a:t>
            </a:r>
            <a:endParaRPr lang="en-US" sz="1900" i="1" u="sng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jor customer-facing improvement providing real-time info to our customers where and when it is helpful</a:t>
            </a:r>
            <a:endParaRPr lang="en-US" sz="1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s to expand real-time info into digital panels in the near future</a:t>
            </a:r>
            <a:endParaRPr lang="en-US" sz="1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21707" y="6069181"/>
            <a:ext cx="832170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10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3878" y="2286000"/>
            <a:ext cx="3429958" cy="2048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7040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MBTA-UMass Lowell Commuter Rail Pilot </a:t>
            </a:r>
            <a:endParaRPr lang="en-US" sz="2400" i="1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52699" y="1481137"/>
            <a:ext cx="4256461" cy="41148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First-of-its-kind-program allows members of UMass Lowell community </a:t>
            </a:r>
            <a:r>
              <a:rPr lang="en-US" sz="2000" dirty="0" smtClean="0">
                <a:solidFill>
                  <a:schemeClr val="tx1"/>
                </a:solidFill>
              </a:rPr>
              <a:t>to ride </a:t>
            </a:r>
            <a:r>
              <a:rPr lang="en-US" sz="2000" dirty="0" smtClean="0">
                <a:solidFill>
                  <a:schemeClr val="tx1"/>
                </a:solidFill>
              </a:rPr>
              <a:t>Commuter Rail at no co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Launched on Sept. 17, saw 3,000 sign-ups in first wee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Program connects students to internships, cultural and sporting events in Boston; has potential to reduce need to drive, reducing GH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Appreciate UMass Lowell’s leadership to partner in this program</a:t>
            </a:r>
          </a:p>
        </p:txBody>
      </p:sp>
      <p:pic>
        <p:nvPicPr>
          <p:cNvPr id="1026" name="Picture 2" descr="image00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9160" y="2182177"/>
            <a:ext cx="4101830" cy="762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40925" y="3538537"/>
            <a:ext cx="1638300" cy="19145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57072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heme/theme1.xml><?xml version="1.0" encoding="utf-8"?>
<a:theme xmlns:a="http://schemas.openxmlformats.org/drawingml/2006/main" name="Presentation3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cmpd="tri">
          <a:solidFill>
            <a:schemeClr val="tx1"/>
          </a:solidFill>
          <a:headEnd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7380</TotalTime>
  <Pages>5</Pages>
  <Words>419</Words>
  <Characters>0</Characters>
  <Application>Microsoft Office PowerPoint</Application>
  <DocSecurity>0</DocSecurity>
  <PresentationFormat>On-screen Show (4:3)</PresentationFormat>
  <Lines>0</Lines>
  <Paragraphs>62</Paragraphs>
  <Slides>9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0" baseType="lpstr">
      <vt:lpstr>Presentation3</vt:lpstr>
      <vt:lpstr>General Manager’s Remarks</vt:lpstr>
      <vt:lpstr>Agenda </vt:lpstr>
      <vt:lpstr>Positive Train Control overview</vt:lpstr>
      <vt:lpstr>Operation Lifesaver (OLI) – Rail Safety Week – September 23rd - 29th</vt:lpstr>
      <vt:lpstr>Operation Lifesaver (OLI) – Rail Safety Week – September 23rd - 29th</vt:lpstr>
      <vt:lpstr> </vt:lpstr>
      <vt:lpstr> </vt:lpstr>
      <vt:lpstr> </vt:lpstr>
      <vt:lpstr>MBTA-UMass Lowell Commuter Rail Pilot </vt:lpstr>
    </vt:vector>
  </TitlesOfParts>
  <LinksUpToDate>false</LinksUpToDate>
  <CharactersWithSpaces>0</CharactersWithSpaces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TD Capital spending has been lower than expected due to delays in GLX and Other projects</dc:title>
  <dc:creator>srashin</dc:creator>
  <cp:lastModifiedBy>DAS</cp:lastModifiedBy>
  <cp:revision>817</cp:revision>
  <cp:lastPrinted>2018-09-21T20:48:37Z</cp:lastPrinted>
  <dcterms:modified xsi:type="dcterms:W3CDTF">2018-09-24T15:19:17Z</dcterms:modified>
</cp:coreProperties>
</file>

<file path=docProps/infrawarePen.xml><?xml version="1.0" encoding="utf-8"?>
<InfrawarePenDraw xmlns="http://www.infraware.co.kr/2012/penmode"/>
</file>